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295" r:id="rId2"/>
    <p:sldId id="378" r:id="rId3"/>
    <p:sldId id="316" r:id="rId4"/>
    <p:sldId id="311" r:id="rId5"/>
    <p:sldId id="312" r:id="rId6"/>
    <p:sldId id="313" r:id="rId7"/>
    <p:sldId id="314" r:id="rId8"/>
    <p:sldId id="315" r:id="rId9"/>
    <p:sldId id="317" r:id="rId10"/>
    <p:sldId id="318" r:id="rId11"/>
    <p:sldId id="319" r:id="rId12"/>
    <p:sldId id="320" r:id="rId13"/>
    <p:sldId id="321" r:id="rId14"/>
    <p:sldId id="322" r:id="rId15"/>
    <p:sldId id="323" r:id="rId16"/>
    <p:sldId id="324" r:id="rId17"/>
    <p:sldId id="325" r:id="rId18"/>
    <p:sldId id="326" r:id="rId19"/>
    <p:sldId id="327" r:id="rId20"/>
    <p:sldId id="332" r:id="rId21"/>
    <p:sldId id="335" r:id="rId22"/>
    <p:sldId id="337" r:id="rId23"/>
    <p:sldId id="377" r:id="rId24"/>
    <p:sldId id="368" r:id="rId25"/>
  </p:sldIdLst>
  <p:sldSz cx="9904413" cy="6859588"/>
  <p:notesSz cx="6797675" cy="9874250"/>
  <p:custDataLst>
    <p:tags r:id="rId28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26" autoAdjust="0"/>
    <p:restoredTop sz="98993" autoAdjust="0"/>
  </p:normalViewPr>
  <p:slideViewPr>
    <p:cSldViewPr snapToObjects="1" showGuides="1">
      <p:cViewPr varScale="1">
        <p:scale>
          <a:sx n="131" d="100"/>
          <a:sy n="131" d="100"/>
        </p:scale>
        <p:origin x="800" y="176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0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5"/>
            <a:ext cx="7236804" cy="538596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Analysis Framework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264840" y="1160463"/>
            <a:ext cx="9403035" cy="5149850"/>
          </a:xfrm>
          <a:prstGeom prst="rect">
            <a:avLst/>
          </a:prstGeom>
        </p:spPr>
        <p:txBody>
          <a:bodyPr/>
          <a:lstStyle>
            <a:lvl1pPr marL="188568" indent="-188568" algn="l" defTabSz="957925" rtl="0" eaLnBrk="1" latinLnBrk="0" hangingPunct="1">
              <a:lnSpc>
                <a:spcPct val="90000"/>
              </a:lnSpc>
              <a:spcBef>
                <a:spcPts val="1467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325695" indent="-13411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512905" indent="-188568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663759" indent="-143689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807071" indent="-143312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/>
              <a:t>Bullet</a:t>
            </a:r>
          </a:p>
          <a:p>
            <a:pPr lvl="2"/>
            <a:r>
              <a:rPr lang="en-US" sz="1600" dirty="0"/>
              <a:t>Dash</a:t>
            </a:r>
          </a:p>
          <a:p>
            <a:pPr lvl="3"/>
            <a:r>
              <a:rPr lang="en-US" sz="1600" dirty="0"/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20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910158"/>
              </p:ext>
            </p:extLst>
          </p:nvPr>
        </p:nvGraphicFramePr>
        <p:xfrm>
          <a:off x="396875" y="1377950"/>
          <a:ext cx="9055104" cy="430274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80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0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71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7</Words>
  <Application>Microsoft Macintosh PowerPoint</Application>
  <PresentationFormat>Custom</PresentationFormat>
  <Paragraphs>667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Analysis Framework</vt:lpstr>
      <vt:lpstr>PowerPoint Presentation</vt:lpstr>
      <vt:lpstr>Tables – data table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0T13:28:05Z</dcterms:modified>
  <cp:version>112013</cp:version>
</cp:coreProperties>
</file>